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50"/>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 id="2147476974" r:id="rId28"/>
    <p:sldId id="2147476975" r:id="rId29"/>
    <p:sldId id="2147476976" r:id="rId30"/>
    <p:sldId id="2147476977" r:id="rId31"/>
    <p:sldId id="2147476978" r:id="rId32"/>
    <p:sldId id="2147476979" r:id="rId33"/>
    <p:sldId id="2147476980" r:id="rId34"/>
    <p:sldId id="2147476981" r:id="rId35"/>
    <p:sldId id="2147476982" r:id="rId36"/>
    <p:sldId id="2147476983" r:id="rId37"/>
    <p:sldId id="2147476984" r:id="rId38"/>
    <p:sldId id="2147476985" r:id="rId39"/>
    <p:sldId id="2147476986" r:id="rId40"/>
    <p:sldId id="2147476987" r:id="rId41"/>
    <p:sldId id="2147476988" r:id="rId42"/>
    <p:sldId id="2147476989" r:id="rId43"/>
    <p:sldId id="2147476990" r:id="rId44"/>
    <p:sldId id="2147476991" r:id="rId45"/>
    <p:sldId id="2147476992" r:id="rId46"/>
    <p:sldId id="2147476993" r:id="rId47"/>
    <p:sldId id="2147476994" r:id="rId48"/>
    <p:sldId id="2147476995" r:id="rId49"/>
    <p:sldId id="2147476996" r:id="rId50"/>
    <p:sldId id="2147476997" r:id="rId51"/>
    <p:sldId id="2147476998" r:id="rId52"/>
    <p:sldId id="2147476999" r:id="rId53"/>
    <p:sldId id="2147477000" r:id="rId54"/>
    <p:sldId id="2147477001" r:id="rId55"/>
    <p:sldId id="2147477002" r:id="rId56"/>
    <p:sldId id="2147477003" r:id="rId57"/>
    <p:sldId id="2147477004" r:id="rId58"/>
    <p:sldId id="2147477005" r:id="rId59"/>
    <p:sldId id="2147477006" r:id="rId60"/>
    <p:sldId id="2147477007" r:id="rId61"/>
    <p:sldId id="2147477008" r:id="rId62"/>
    <p:sldId id="2147477009" r:id="rId63"/>
    <p:sldId id="2147477010" r:id="rId64"/>
    <p:sldId id="2147477011" r:id="rId65"/>
    <p:sldId id="2147477012" r:id="rId66"/>
    <p:sldId id="2147477013" r:id="rId67"/>
    <p:sldId id="2147477014" r:id="rId68"/>
    <p:sldId id="2147477015" r:id="rId69"/>
    <p:sldId id="2147477016" r:id="rId70"/>
    <p:sldId id="2147477017" r:id="rId71"/>
    <p:sldId id="2147477018" r:id="rId72"/>
    <p:sldId id="2147477019" r:id="rId73"/>
    <p:sldId id="2147477020" r:id="rId74"/>
    <p:sldId id="2147477021" r:id="rId75"/>
    <p:sldId id="2147477022" r:id="rId76"/>
    <p:sldId id="2147477023" r:id="rId77"/>
    <p:sldId id="2147477024" r:id="rId78"/>
    <p:sldId id="2147477025" r:id="rId79"/>
    <p:sldId id="2147477026" r:id="rId80"/>
    <p:sldId id="2147477027" r:id="rId81"/>
    <p:sldId id="2147477028" r:id="rId82"/>
    <p:sldId id="2147477029" r:id="rId83"/>
    <p:sldId id="2147477030" r:id="rId84"/>
    <p:sldId id="2147477031" r:id="rId85"/>
    <p:sldId id="2147477032" r:id="rId86"/>
    <p:sldId id="2147477033" r:id="rId87"/>
    <p:sldId id="2147477034" r:id="rId88"/>
    <p:sldId id="2147477035" r:id="rId89"/>
    <p:sldId id="2147477036" r:id="rId90"/>
    <p:sldId id="2147477037" r:id="rId91"/>
    <p:sldId id="2147477038" r:id="rId92"/>
    <p:sldId id="2147477039" r:id="rId93"/>
    <p:sldId id="2147477040" r:id="rId94"/>
    <p:sldId id="2147477041" r:id="rId95"/>
    <p:sldId id="2147477042" r:id="rId96"/>
    <p:sldId id="2147477043" r:id="rId97"/>
    <p:sldId id="2147477044" r:id="rId98"/>
    <p:sldId id="2147477045" r:id="rId99"/>
    <p:sldId id="2147477046" r:id="rId100"/>
    <p:sldId id="2147477047" r:id="rId101"/>
    <p:sldId id="2147477048" r:id="rId102"/>
    <p:sldId id="2147477049" r:id="rId103"/>
    <p:sldId id="2147477050" r:id="rId104"/>
    <p:sldId id="2147477051" r:id="rId105"/>
    <p:sldId id="2147477052" r:id="rId106"/>
    <p:sldId id="2147477053" r:id="rId107"/>
    <p:sldId id="2147477054" r:id="rId108"/>
    <p:sldId id="2147477055" r:id="rId109"/>
    <p:sldId id="2147477056" r:id="rId110"/>
    <p:sldId id="2147477057" r:id="rId111"/>
    <p:sldId id="2147477058" r:id="rId112"/>
    <p:sldId id="2147477059" r:id="rId113"/>
    <p:sldId id="2147477060" r:id="rId114"/>
    <p:sldId id="2147477061" r:id="rId115"/>
    <p:sldId id="2147477062" r:id="rId116"/>
    <p:sldId id="2147477063" r:id="rId117"/>
    <p:sldId id="2147477064" r:id="rId118"/>
    <p:sldId id="2147477065" r:id="rId119"/>
    <p:sldId id="2147477066" r:id="rId120"/>
    <p:sldId id="2147477067" r:id="rId121"/>
    <p:sldId id="2147477068" r:id="rId122"/>
    <p:sldId id="2147477069" r:id="rId123"/>
    <p:sldId id="2147477070" r:id="rId124"/>
    <p:sldId id="2147477071" r:id="rId125"/>
    <p:sldId id="2147477072" r:id="rId126"/>
    <p:sldId id="2147477073" r:id="rId127"/>
    <p:sldId id="2147477074" r:id="rId128"/>
    <p:sldId id="2147477075" r:id="rId129"/>
    <p:sldId id="2147477076" r:id="rId130"/>
    <p:sldId id="2147477077" r:id="rId131"/>
    <p:sldId id="2147477078" r:id="rId132"/>
    <p:sldId id="2147477079" r:id="rId133"/>
    <p:sldId id="2147477080" r:id="rId134"/>
    <p:sldId id="2147477081" r:id="rId135"/>
    <p:sldId id="2147477082" r:id="rId136"/>
    <p:sldId id="2147477083" r:id="rId137"/>
    <p:sldId id="2147477084" r:id="rId138"/>
    <p:sldId id="2147477085" r:id="rId139"/>
    <p:sldId id="2147477086" r:id="rId140"/>
    <p:sldId id="2147477087" r:id="rId141"/>
    <p:sldId id="2147477088" r:id="rId142"/>
    <p:sldId id="2147477089" r:id="rId143"/>
    <p:sldId id="2147477090" r:id="rId144"/>
    <p:sldId id="2147477091" r:id="rId145"/>
    <p:sldId id="2147477092" r:id="rId146"/>
    <p:sldId id="2147477093" r:id="rId147"/>
    <p:sldId id="2147477094" r:id="rId148"/>
    <p:sldId id="2147477095" r:id="rId1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93088D72-BBCA-4902-9654-56124EDF926B}">
          <p14:sldIdLst>
            <p14:sldId id="2147476952"/>
            <p14:sldId id="2147476953"/>
            <p14:sldId id="2147476954"/>
            <p14:sldId id="2147476955"/>
          </p14:sldIdLst>
        </p14:section>
        <p14:section name="Brand Sourcing Analysis" id="{AAB37C4A-28C1-47E7-98DA-918605CD56FD}">
          <p14:sldIdLst>
            <p14:sldId id="2147476956"/>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Lst>
        </p14:section>
        <p14:section name="Product Sourcing Analysis" id="{F0FF2BCB-1137-48A1-AD07-A8932FB11CAC}">
          <p14:sldIdLst>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Lst>
        </p14:section>
        <p14:section name="Price Elasticity Curve" id="{4358DEE3-838E-4A2D-9AA5-A958114659B1}">
          <p14:sldIdLst>
            <p14:sldId id="2147477021"/>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Lst>
        </p14:section>
        <p14:section name="Revenue Response Analysis" id="{440FC89D-57EB-4373-9353-7DC9A1FC7F60}">
          <p14:sldIdLst>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Lst>
        </p14:section>
        <p14:section name="Size Elasticity" id="{C62A78DD-DD33-4FFA-B460-C41E57129832}">
          <p14:sldIdLst>
            <p14:sldId id="2147477091"/>
            <p14:sldId id="2147477092"/>
            <p14:sldId id="2147477093"/>
            <p14:sldId id="2147477094"/>
            <p14:sldId id="214747709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7" d="100"/>
          <a:sy n="107" d="100"/>
        </p:scale>
        <p:origin x="60" y="28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2.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notesMaster" Target="notesMasters/notesMaster1.xml"/><Relationship Id="rId155" Type="http://schemas.microsoft.com/office/2015/10/relationships/revisionInfo" Target="revisionInfo.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presProps" Target="presProp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theme" Target="theme/theme1.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tableStyles" Target="tableStyles.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2/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7/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7/2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7/22/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7/2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7/22/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7/22/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7/22/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7/2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7/2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7/22/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7/2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7/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7/22/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chart" Target="../charts/chart166.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2" Type="http://schemas.openxmlformats.org/officeDocument/2006/relationships/chart" Target="../charts/chart169.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chart" Target="../charts/chart170.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chart" Target="../charts/chart173.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chart" Target="../charts/chart17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chart" Target="../charts/chart176.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chart" Target="../charts/chart178.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chart" Target="../charts/chart179.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chart" Target="../charts/chart180.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chart" Target="../charts/chart182.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chart" Target="../charts/chart183.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chart" Target="../charts/chart18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chart" Target="../charts/chart186.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chart" Target="../charts/chart187.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chart" Target="../charts/chart188.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chart" Target="../charts/chart190.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2" Type="http://schemas.openxmlformats.org/officeDocument/2006/relationships/chart" Target="../charts/chart191.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chart" Target="../charts/chart192.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2" Type="http://schemas.openxmlformats.org/officeDocument/2006/relationships/chart" Target="../charts/chart193.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2" Type="http://schemas.openxmlformats.org/officeDocument/2006/relationships/chart" Target="../charts/chart194.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2" Type="http://schemas.openxmlformats.org/officeDocument/2006/relationships/chart" Target="../charts/chart196.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2" Type="http://schemas.openxmlformats.org/officeDocument/2006/relationships/chart" Target="../charts/chart198.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2" Type="http://schemas.openxmlformats.org/officeDocument/2006/relationships/chart" Target="../charts/chart199.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2" Type="http://schemas.openxmlformats.org/officeDocument/2006/relationships/chart" Target="../charts/chart200.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2" Type="http://schemas.openxmlformats.org/officeDocument/2006/relationships/chart" Target="../charts/chart201.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chart" Target="../charts/chart202.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2" Type="http://schemas.openxmlformats.org/officeDocument/2006/relationships/chart" Target="../charts/chart203.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2" Type="http://schemas.openxmlformats.org/officeDocument/2006/relationships/chart" Target="../charts/chart20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chart" Target="../charts/chart4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chart" Target="../charts/chart51.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chart" Target="../charts/chart6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chart" Target="../charts/chart75.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chart" Target="../charts/chart84.xml"/><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chart" Target="../charts/chart88.xml"/><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90.xml"/><Relationship Id="rId2" Type="http://schemas.openxmlformats.org/officeDocument/2006/relationships/chart" Target="../charts/chart89.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chart" Target="../charts/chart92.xml"/><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chart" Target="../charts/chart94.xml"/><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chart" Target="../charts/chart98.xml"/><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100.xml"/><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chart" Target="../charts/chart102.xml"/><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chart" Target="../charts/chart106.xml"/><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hart" Target="../charts/chart108.xml"/><Relationship Id="rId2" Type="http://schemas.openxmlformats.org/officeDocument/2006/relationships/chart" Target="../charts/chart107.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chart" Target="../charts/chart110.xml"/><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chart" Target="../charts/chart112.xml"/><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116.xml"/><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chart" Target="../charts/chart118.xml"/><Relationship Id="rId2" Type="http://schemas.openxmlformats.org/officeDocument/2006/relationships/chart" Target="../charts/chart117.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120.xml"/><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chart" Target="../charts/chart122.xml"/><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124.xml"/><Relationship Id="rId2" Type="http://schemas.openxmlformats.org/officeDocument/2006/relationships/chart" Target="../charts/chart12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chart" Target="../charts/chart126.xml"/><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chart" Target="../charts/chart128.xml"/><Relationship Id="rId2" Type="http://schemas.openxmlformats.org/officeDocument/2006/relationships/chart" Target="../charts/chart127.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chart" Target="../charts/chart130.xml"/><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chart" Target="../charts/chart132.xml"/><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chart" Target="../charts/chart134.xml"/><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chart" Target="../charts/chart136.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chart" Target="../charts/chart138.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chart" Target="../charts/chart140.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chart" Target="../charts/chart141.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chart" Target="../charts/chart142.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chart" Target="../charts/chart145.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chart" Target="../charts/chart146.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chart" Target="../charts/chart148.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chart" Target="../charts/chart152.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155.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chart" Target="../charts/chart158.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chart" Target="../charts/chart160.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chart" Target="../charts/chart162.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2" Type="http://schemas.openxmlformats.org/officeDocument/2006/relationships/chart" Target="../charts/chart16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2/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4334531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257954226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378194648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205719144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218592010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146280577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335302912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389967071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4567212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93412136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141198055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20838404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417913807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283814342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238806840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98341950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212602315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381249265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27821925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385312592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348997057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141875655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1320728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362840119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318023596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207927961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317029576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412523576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144279425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70806334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384040802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100984131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157426786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31029480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51527487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196090035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321637734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198559970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81209792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395573353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37672096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22431296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258260735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36168351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42450678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398318267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2/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193143304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2/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357402397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2/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116521628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2/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75334427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2/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21124823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399377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41189752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4095872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053944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912371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2/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642602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34551727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23569904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17182037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15440264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7436749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494899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12799765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5976445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36175298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8522295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2/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34375883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2437416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8436314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17282789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20915018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21349580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192952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2330235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9422502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516301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9864806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2/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285811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17980259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38749354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30661513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33231851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5447231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7354603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743568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31534117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28224674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978823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12081807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259841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31335060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1386245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23479493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41590260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13527942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29971140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1856586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8466315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910322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6841976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9819849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4682331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24309576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12049291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26013690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16070689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11795273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3136999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37012154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2/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2635560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93786974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991238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494716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2736300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709094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27293787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11937968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54057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988736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7183321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335189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27099592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67035947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0443065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7186615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621240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9850002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9950633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82890860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2376181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0103659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30788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2/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98172610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5652022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2/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88855904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225028973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284418232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364931764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215025095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88447672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58517243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7458009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2/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40193370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508</Words>
  <Application>Microsoft Office PowerPoint</Application>
  <PresentationFormat>On-screen Show (16:9)</PresentationFormat>
  <Paragraphs>5272</Paragraphs>
  <Slides>144</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4</vt:i4>
      </vt:variant>
    </vt:vector>
  </HeadingPairs>
  <TitlesOfParts>
    <vt:vector size="155"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09:12Z</dcterms:created>
  <dcterms:modified xsi:type="dcterms:W3CDTF">2025-07-22T13:5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